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282C67-2933-11AD-69C6-894BA1FC5F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40509C0-313D-A7F0-015E-67897EF397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509C0-313D-A7F0-015E-67897EF39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18F2A9-B06F-DE3B-A36B-571CDF4A8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ECE8A1C-2DE1-EE18-AA28-723E13136B7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3129;p46">
            <a:extLst>
              <a:ext uri="{FF2B5EF4-FFF2-40B4-BE49-F238E27FC236}">
                <a16:creationId xmlns:a16="http://schemas.microsoft.com/office/drawing/2014/main" id="{F4799F42-7CF8-F303-1623-915852C00B57}"/>
              </a:ext>
            </a:extLst>
          </p:cNvPr>
          <p:cNvSpPr/>
          <p:nvPr/>
        </p:nvSpPr>
        <p:spPr>
          <a:xfrm>
            <a:off x="3146981" y="1583526"/>
            <a:ext cx="4226613" cy="21504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29" name="Google Shape;3132;p46">
            <a:extLst>
              <a:ext uri="{FF2B5EF4-FFF2-40B4-BE49-F238E27FC236}">
                <a16:creationId xmlns:a16="http://schemas.microsoft.com/office/drawing/2014/main" id="{F9B77289-9B80-CBD2-DB1D-DD099FED45E7}"/>
              </a:ext>
            </a:extLst>
          </p:cNvPr>
          <p:cNvSpPr/>
          <p:nvPr/>
        </p:nvSpPr>
        <p:spPr>
          <a:xfrm>
            <a:off x="7357255" y="1583526"/>
            <a:ext cx="4226613" cy="21504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0" name="Google Shape;3128;p46">
            <a:extLst>
              <a:ext uri="{FF2B5EF4-FFF2-40B4-BE49-F238E27FC236}">
                <a16:creationId xmlns:a16="http://schemas.microsoft.com/office/drawing/2014/main" id="{24B2ABDE-64EF-1247-ED69-83D9273167E0}"/>
              </a:ext>
            </a:extLst>
          </p:cNvPr>
          <p:cNvSpPr/>
          <p:nvPr/>
        </p:nvSpPr>
        <p:spPr>
          <a:xfrm>
            <a:off x="630475" y="1583525"/>
            <a:ext cx="2516507" cy="39757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1" name="Google Shape;3130;p46">
            <a:extLst>
              <a:ext uri="{FF2B5EF4-FFF2-40B4-BE49-F238E27FC236}">
                <a16:creationId xmlns:a16="http://schemas.microsoft.com/office/drawing/2014/main" id="{B65664FC-63DD-8275-386A-A81F7178C277}"/>
              </a:ext>
            </a:extLst>
          </p:cNvPr>
          <p:cNvSpPr/>
          <p:nvPr/>
        </p:nvSpPr>
        <p:spPr>
          <a:xfrm>
            <a:off x="3146981" y="3566373"/>
            <a:ext cx="4226613" cy="199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2" name="Google Shape;3133;p46">
            <a:extLst>
              <a:ext uri="{FF2B5EF4-FFF2-40B4-BE49-F238E27FC236}">
                <a16:creationId xmlns:a16="http://schemas.microsoft.com/office/drawing/2014/main" id="{6CCAE20A-49B5-FABF-EB0D-4D56A3E817EB}"/>
              </a:ext>
            </a:extLst>
          </p:cNvPr>
          <p:cNvSpPr/>
          <p:nvPr/>
        </p:nvSpPr>
        <p:spPr>
          <a:xfrm>
            <a:off x="7357255" y="3566373"/>
            <a:ext cx="4226613" cy="19928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>
              <a:buClr>
                <a:srgbClr val="FFFFFF"/>
              </a:buClr>
              <a:buSzPts val="1800"/>
              <a:defRPr/>
            </a:pP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33" name="Shape1_20220427_134847">
            <a:extLst>
              <a:ext uri="{FF2B5EF4-FFF2-40B4-BE49-F238E27FC236}">
                <a16:creationId xmlns:a16="http://schemas.microsoft.com/office/drawing/2014/main" id="{5B9E52B7-C31B-D914-13C2-2436E2409910}"/>
              </a:ext>
            </a:extLst>
          </p:cNvPr>
          <p:cNvSpPr txBox="1"/>
          <p:nvPr/>
        </p:nvSpPr>
        <p:spPr>
          <a:xfrm>
            <a:off x="858822" y="2856585"/>
            <a:ext cx="205981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32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4" name="Shape2_20220427_134847">
            <a:extLst>
              <a:ext uri="{FF2B5EF4-FFF2-40B4-BE49-F238E27FC236}">
                <a16:creationId xmlns:a16="http://schemas.microsoft.com/office/drawing/2014/main" id="{B9AD660E-8BCA-E9CF-C832-60E148F08744}"/>
              </a:ext>
            </a:extLst>
          </p:cNvPr>
          <p:cNvSpPr txBox="1"/>
          <p:nvPr/>
        </p:nvSpPr>
        <p:spPr>
          <a:xfrm>
            <a:off x="861556" y="3131332"/>
            <a:ext cx="205434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8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5" name="Shape3_20220427_134847">
            <a:extLst>
              <a:ext uri="{FF2B5EF4-FFF2-40B4-BE49-F238E27FC236}">
                <a16:creationId xmlns:a16="http://schemas.microsoft.com/office/drawing/2014/main" id="{6F27771D-BA4B-03BB-D7F1-6BFDB682F03C}"/>
              </a:ext>
            </a:extLst>
          </p:cNvPr>
          <p:cNvSpPr txBox="1"/>
          <p:nvPr/>
        </p:nvSpPr>
        <p:spPr>
          <a:xfrm>
            <a:off x="3317398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6" name="Shape4_20220427_134847">
            <a:extLst>
              <a:ext uri="{FF2B5EF4-FFF2-40B4-BE49-F238E27FC236}">
                <a16:creationId xmlns:a16="http://schemas.microsoft.com/office/drawing/2014/main" id="{A162F95B-322E-242A-2646-5C201F039DFE}"/>
              </a:ext>
            </a:extLst>
          </p:cNvPr>
          <p:cNvSpPr txBox="1"/>
          <p:nvPr/>
        </p:nvSpPr>
        <p:spPr>
          <a:xfrm>
            <a:off x="3322557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7" name="Shape5_20220427_134847">
            <a:extLst>
              <a:ext uri="{FF2B5EF4-FFF2-40B4-BE49-F238E27FC236}">
                <a16:creationId xmlns:a16="http://schemas.microsoft.com/office/drawing/2014/main" id="{79BC1DDB-6F4A-662A-E7AE-C3F5810BAB1A}"/>
              </a:ext>
            </a:extLst>
          </p:cNvPr>
          <p:cNvSpPr txBox="1"/>
          <p:nvPr/>
        </p:nvSpPr>
        <p:spPr>
          <a:xfrm>
            <a:off x="3317398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8" name="Shape6_20220427_134847">
            <a:extLst>
              <a:ext uri="{FF2B5EF4-FFF2-40B4-BE49-F238E27FC236}">
                <a16:creationId xmlns:a16="http://schemas.microsoft.com/office/drawing/2014/main" id="{E5BA163C-B85C-F34B-2385-71202516F5C0}"/>
              </a:ext>
            </a:extLst>
          </p:cNvPr>
          <p:cNvSpPr txBox="1"/>
          <p:nvPr/>
        </p:nvSpPr>
        <p:spPr>
          <a:xfrm>
            <a:off x="3322557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39" name="Google Shape;3143;p46">
            <a:extLst>
              <a:ext uri="{FF2B5EF4-FFF2-40B4-BE49-F238E27FC236}">
                <a16:creationId xmlns:a16="http://schemas.microsoft.com/office/drawing/2014/main" id="{7F55580E-AB96-D745-4307-9A98539024F2}"/>
              </a:ext>
            </a:extLst>
          </p:cNvPr>
          <p:cNvSpPr txBox="1"/>
          <p:nvPr/>
        </p:nvSpPr>
        <p:spPr>
          <a:xfrm>
            <a:off x="7527670" y="1847683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Shape3_20210622_174643">
            <a:extLst>
              <a:ext uri="{FF2B5EF4-FFF2-40B4-BE49-F238E27FC236}">
                <a16:creationId xmlns:a16="http://schemas.microsoft.com/office/drawing/2014/main" id="{645BC40D-C1EC-012C-A440-BB3DA0C8E831}"/>
              </a:ext>
            </a:extLst>
          </p:cNvPr>
          <p:cNvSpPr txBox="1"/>
          <p:nvPr/>
        </p:nvSpPr>
        <p:spPr>
          <a:xfrm>
            <a:off x="7532830" y="2122427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1" name="Shape0_20220427_134847">
            <a:extLst>
              <a:ext uri="{FF2B5EF4-FFF2-40B4-BE49-F238E27FC236}">
                <a16:creationId xmlns:a16="http://schemas.microsoft.com/office/drawing/2014/main" id="{41A4D97D-E0B8-B6AE-C2CE-B773E652D04A}"/>
              </a:ext>
            </a:extLst>
          </p:cNvPr>
          <p:cNvSpPr txBox="1"/>
          <p:nvPr/>
        </p:nvSpPr>
        <p:spPr>
          <a:xfrm>
            <a:off x="7527670" y="4110609"/>
            <a:ext cx="3885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defRPr/>
            </a:pPr>
            <a:r>
              <a:rPr lang="en-US" b="1" dirty="0">
                <a:solidFill>
                  <a:schemeClr val="bg1"/>
                </a:solidFill>
              </a:rPr>
              <a:t>Title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2" name="Shape7_20220427_134847">
            <a:extLst>
              <a:ext uri="{FF2B5EF4-FFF2-40B4-BE49-F238E27FC236}">
                <a16:creationId xmlns:a16="http://schemas.microsoft.com/office/drawing/2014/main" id="{A3BF8A23-EB3F-D13D-43D5-2607DA9DA214}"/>
              </a:ext>
            </a:extLst>
          </p:cNvPr>
          <p:cNvSpPr txBox="1"/>
          <p:nvPr/>
        </p:nvSpPr>
        <p:spPr>
          <a:xfrm>
            <a:off x="7532830" y="4385353"/>
            <a:ext cx="38754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defRPr/>
            </a:pPr>
            <a:r>
              <a:rPr lang="en-US" dirty="0">
                <a:solidFill>
                  <a:schemeClr val="bg1"/>
                </a:solidFill>
              </a:rPr>
              <a:t>Insert Text Here </a:t>
            </a:r>
          </a:p>
        </p:txBody>
      </p:sp>
      <p:sp>
        <p:nvSpPr>
          <p:cNvPr id="43" name="Freeform 1532">
            <a:extLst>
              <a:ext uri="{FF2B5EF4-FFF2-40B4-BE49-F238E27FC236}">
                <a16:creationId xmlns:a16="http://schemas.microsoft.com/office/drawing/2014/main" id="{CA707FBF-864D-8F00-0B94-D7E571FDA6C9}"/>
              </a:ext>
            </a:extLst>
          </p:cNvPr>
          <p:cNvSpPr>
            <a:spLocks noEditPoints="1"/>
          </p:cNvSpPr>
          <p:nvPr/>
        </p:nvSpPr>
        <p:spPr bwMode="auto">
          <a:xfrm>
            <a:off x="1299284" y="2190752"/>
            <a:ext cx="136822" cy="134544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4" name="Freeform 1533">
            <a:extLst>
              <a:ext uri="{FF2B5EF4-FFF2-40B4-BE49-F238E27FC236}">
                <a16:creationId xmlns:a16="http://schemas.microsoft.com/office/drawing/2014/main" id="{05820D1F-B4FE-E180-9880-19F52BF3144B}"/>
              </a:ext>
            </a:extLst>
          </p:cNvPr>
          <p:cNvSpPr>
            <a:spLocks/>
          </p:cNvSpPr>
          <p:nvPr/>
        </p:nvSpPr>
        <p:spPr bwMode="auto">
          <a:xfrm>
            <a:off x="921842" y="1817281"/>
            <a:ext cx="153336" cy="150780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5" name="Freeform 1534">
            <a:extLst>
              <a:ext uri="{FF2B5EF4-FFF2-40B4-BE49-F238E27FC236}">
                <a16:creationId xmlns:a16="http://schemas.microsoft.com/office/drawing/2014/main" id="{95B7F195-6519-6E60-3AF5-3D8BDC056636}"/>
              </a:ext>
            </a:extLst>
          </p:cNvPr>
          <p:cNvSpPr>
            <a:spLocks/>
          </p:cNvSpPr>
          <p:nvPr/>
        </p:nvSpPr>
        <p:spPr bwMode="auto">
          <a:xfrm>
            <a:off x="917126" y="1898470"/>
            <a:ext cx="172208" cy="13222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6" name="Freeform 1535">
            <a:extLst>
              <a:ext uri="{FF2B5EF4-FFF2-40B4-BE49-F238E27FC236}">
                <a16:creationId xmlns:a16="http://schemas.microsoft.com/office/drawing/2014/main" id="{9950716B-4CDF-BAFB-9F7E-FCC2997D56DE}"/>
              </a:ext>
            </a:extLst>
          </p:cNvPr>
          <p:cNvSpPr>
            <a:spLocks/>
          </p:cNvSpPr>
          <p:nvPr/>
        </p:nvSpPr>
        <p:spPr bwMode="auto">
          <a:xfrm>
            <a:off x="1004408" y="1812641"/>
            <a:ext cx="141540" cy="169339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7" name="Freeform 1536">
            <a:extLst>
              <a:ext uri="{FF2B5EF4-FFF2-40B4-BE49-F238E27FC236}">
                <a16:creationId xmlns:a16="http://schemas.microsoft.com/office/drawing/2014/main" id="{F15EE623-1323-E7C8-37CD-C7D32F55B3F6}"/>
              </a:ext>
            </a:extLst>
          </p:cNvPr>
          <p:cNvSpPr>
            <a:spLocks/>
          </p:cNvSpPr>
          <p:nvPr/>
        </p:nvSpPr>
        <p:spPr bwMode="auto">
          <a:xfrm>
            <a:off x="1072818" y="2002858"/>
            <a:ext cx="87284" cy="81190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8" name="Freeform 1537">
            <a:extLst>
              <a:ext uri="{FF2B5EF4-FFF2-40B4-BE49-F238E27FC236}">
                <a16:creationId xmlns:a16="http://schemas.microsoft.com/office/drawing/2014/main" id="{632D9C41-2D75-6E86-A0FC-5860C956099E}"/>
              </a:ext>
            </a:extLst>
          </p:cNvPr>
          <p:cNvSpPr>
            <a:spLocks/>
          </p:cNvSpPr>
          <p:nvPr/>
        </p:nvSpPr>
        <p:spPr bwMode="auto">
          <a:xfrm>
            <a:off x="1202567" y="2130441"/>
            <a:ext cx="89642" cy="85830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49" name="Freeform 1538">
            <a:extLst>
              <a:ext uri="{FF2B5EF4-FFF2-40B4-BE49-F238E27FC236}">
                <a16:creationId xmlns:a16="http://schemas.microsoft.com/office/drawing/2014/main" id="{3847EB75-A1DE-9C2C-ECE5-AC78349B0BF3}"/>
              </a:ext>
            </a:extLst>
          </p:cNvPr>
          <p:cNvSpPr>
            <a:spLocks/>
          </p:cNvSpPr>
          <p:nvPr/>
        </p:nvSpPr>
        <p:spPr bwMode="auto">
          <a:xfrm>
            <a:off x="1108204" y="1968059"/>
            <a:ext cx="219389" cy="215734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0" name="Freeform 1539">
            <a:extLst>
              <a:ext uri="{FF2B5EF4-FFF2-40B4-BE49-F238E27FC236}">
                <a16:creationId xmlns:a16="http://schemas.microsoft.com/office/drawing/2014/main" id="{713BF3CC-DCFD-4C82-0D67-EE3BE7B731ED}"/>
              </a:ext>
            </a:extLst>
          </p:cNvPr>
          <p:cNvSpPr>
            <a:spLocks/>
          </p:cNvSpPr>
          <p:nvPr/>
        </p:nvSpPr>
        <p:spPr bwMode="auto">
          <a:xfrm>
            <a:off x="1252104" y="2144360"/>
            <a:ext cx="221748" cy="220371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1" name="Freeform 1540">
            <a:extLst>
              <a:ext uri="{FF2B5EF4-FFF2-40B4-BE49-F238E27FC236}">
                <a16:creationId xmlns:a16="http://schemas.microsoft.com/office/drawing/2014/main" id="{F6520163-3ED9-DDB6-3948-89A638FE1610}"/>
              </a:ext>
            </a:extLst>
          </p:cNvPr>
          <p:cNvSpPr>
            <a:spLocks/>
          </p:cNvSpPr>
          <p:nvPr/>
        </p:nvSpPr>
        <p:spPr bwMode="auto">
          <a:xfrm>
            <a:off x="1178975" y="1835839"/>
            <a:ext cx="276004" cy="276046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2" name="Freeform 1541">
            <a:extLst>
              <a:ext uri="{FF2B5EF4-FFF2-40B4-BE49-F238E27FC236}">
                <a16:creationId xmlns:a16="http://schemas.microsoft.com/office/drawing/2014/main" id="{39C35FE0-D193-D5F6-7A40-8840A66D95F7}"/>
              </a:ext>
            </a:extLst>
          </p:cNvPr>
          <p:cNvSpPr>
            <a:spLocks noEditPoints="1"/>
          </p:cNvSpPr>
          <p:nvPr/>
        </p:nvSpPr>
        <p:spPr bwMode="auto">
          <a:xfrm>
            <a:off x="924201" y="2097966"/>
            <a:ext cx="268926" cy="257486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3" name="Freeform 1542">
            <a:extLst>
              <a:ext uri="{FF2B5EF4-FFF2-40B4-BE49-F238E27FC236}">
                <a16:creationId xmlns:a16="http://schemas.microsoft.com/office/drawing/2014/main" id="{F8565A35-A2C1-60AF-FA36-D944DC26AC3D}"/>
              </a:ext>
            </a:extLst>
          </p:cNvPr>
          <p:cNvSpPr>
            <a:spLocks noEditPoints="1"/>
          </p:cNvSpPr>
          <p:nvPr/>
        </p:nvSpPr>
        <p:spPr bwMode="auto">
          <a:xfrm>
            <a:off x="1115280" y="2067808"/>
            <a:ext cx="108516" cy="102068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4" name="Freeform 1543">
            <a:extLst>
              <a:ext uri="{FF2B5EF4-FFF2-40B4-BE49-F238E27FC236}">
                <a16:creationId xmlns:a16="http://schemas.microsoft.com/office/drawing/2014/main" id="{D8537AD9-65BA-EBEE-425B-769DFB8FC880}"/>
              </a:ext>
            </a:extLst>
          </p:cNvPr>
          <p:cNvSpPr>
            <a:spLocks/>
          </p:cNvSpPr>
          <p:nvPr/>
        </p:nvSpPr>
        <p:spPr bwMode="auto">
          <a:xfrm>
            <a:off x="1410157" y="1835838"/>
            <a:ext cx="47179" cy="46393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6" name="Freeform 44">
            <a:extLst>
              <a:ext uri="{FF2B5EF4-FFF2-40B4-BE49-F238E27FC236}">
                <a16:creationId xmlns:a16="http://schemas.microsoft.com/office/drawing/2014/main" id="{AD4626C2-77D4-DC5E-0849-D863E530721C}"/>
              </a:ext>
            </a:extLst>
          </p:cNvPr>
          <p:cNvSpPr>
            <a:spLocks noEditPoints="1"/>
          </p:cNvSpPr>
          <p:nvPr/>
        </p:nvSpPr>
        <p:spPr bwMode="auto">
          <a:xfrm>
            <a:off x="6834947" y="4005950"/>
            <a:ext cx="236266" cy="236269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7" name="Freeform 45">
            <a:extLst>
              <a:ext uri="{FF2B5EF4-FFF2-40B4-BE49-F238E27FC236}">
                <a16:creationId xmlns:a16="http://schemas.microsoft.com/office/drawing/2014/main" id="{155690AD-6F06-35F8-3BEB-0D1AF9D6063E}"/>
              </a:ext>
            </a:extLst>
          </p:cNvPr>
          <p:cNvSpPr>
            <a:spLocks noEditPoints="1"/>
          </p:cNvSpPr>
          <p:nvPr/>
        </p:nvSpPr>
        <p:spPr bwMode="auto">
          <a:xfrm>
            <a:off x="6729941" y="3900943"/>
            <a:ext cx="450025" cy="446279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8" name="Freeform 933">
            <a:extLst>
              <a:ext uri="{FF2B5EF4-FFF2-40B4-BE49-F238E27FC236}">
                <a16:creationId xmlns:a16="http://schemas.microsoft.com/office/drawing/2014/main" id="{7FB82360-1724-816A-94CC-DF382C7F593F}"/>
              </a:ext>
            </a:extLst>
          </p:cNvPr>
          <p:cNvSpPr>
            <a:spLocks/>
          </p:cNvSpPr>
          <p:nvPr/>
        </p:nvSpPr>
        <p:spPr bwMode="auto">
          <a:xfrm>
            <a:off x="10996231" y="4207482"/>
            <a:ext cx="18534" cy="120466"/>
          </a:xfrm>
          <a:custGeom>
            <a:avLst/>
            <a:gdLst>
              <a:gd name="T0" fmla="*/ 6 w 15"/>
              <a:gd name="T1" fmla="*/ 99 h 99"/>
              <a:gd name="T2" fmla="*/ 5 w 15"/>
              <a:gd name="T3" fmla="*/ 99 h 99"/>
              <a:gd name="T4" fmla="*/ 0 w 15"/>
              <a:gd name="T5" fmla="*/ 93 h 99"/>
              <a:gd name="T6" fmla="*/ 4 w 15"/>
              <a:gd name="T7" fmla="*/ 6 h 99"/>
              <a:gd name="T8" fmla="*/ 9 w 15"/>
              <a:gd name="T9" fmla="*/ 0 h 99"/>
              <a:gd name="T10" fmla="*/ 15 w 15"/>
              <a:gd name="T11" fmla="*/ 6 h 99"/>
              <a:gd name="T12" fmla="*/ 11 w 15"/>
              <a:gd name="T13" fmla="*/ 94 h 99"/>
              <a:gd name="T14" fmla="*/ 6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6" y="99"/>
                </a:moveTo>
                <a:cubicBezTo>
                  <a:pt x="6" y="99"/>
                  <a:pt x="6" y="99"/>
                  <a:pt x="5" y="99"/>
                </a:cubicBezTo>
                <a:cubicBezTo>
                  <a:pt x="2" y="99"/>
                  <a:pt x="0" y="96"/>
                  <a:pt x="0" y="93"/>
                </a:cubicBezTo>
                <a:cubicBezTo>
                  <a:pt x="4" y="6"/>
                  <a:pt x="4" y="6"/>
                  <a:pt x="4" y="6"/>
                </a:cubicBezTo>
                <a:cubicBezTo>
                  <a:pt x="4" y="3"/>
                  <a:pt x="6" y="0"/>
                  <a:pt x="9" y="0"/>
                </a:cubicBezTo>
                <a:cubicBezTo>
                  <a:pt x="13" y="1"/>
                  <a:pt x="15" y="3"/>
                  <a:pt x="15" y="6"/>
                </a:cubicBezTo>
                <a:cubicBezTo>
                  <a:pt x="11" y="94"/>
                  <a:pt x="11" y="94"/>
                  <a:pt x="11" y="94"/>
                </a:cubicBezTo>
                <a:cubicBezTo>
                  <a:pt x="11" y="97"/>
                  <a:pt x="9" y="99"/>
                  <a:pt x="6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59" name="Freeform 934">
            <a:extLst>
              <a:ext uri="{FF2B5EF4-FFF2-40B4-BE49-F238E27FC236}">
                <a16:creationId xmlns:a16="http://schemas.microsoft.com/office/drawing/2014/main" id="{3DD896E9-6284-1290-ED8B-4B23E0244411}"/>
              </a:ext>
            </a:extLst>
          </p:cNvPr>
          <p:cNvSpPr>
            <a:spLocks/>
          </p:cNvSpPr>
          <p:nvPr/>
        </p:nvSpPr>
        <p:spPr bwMode="auto">
          <a:xfrm>
            <a:off x="11240870" y="4207482"/>
            <a:ext cx="16681" cy="120466"/>
          </a:xfrm>
          <a:custGeom>
            <a:avLst/>
            <a:gdLst>
              <a:gd name="T0" fmla="*/ 9 w 15"/>
              <a:gd name="T1" fmla="*/ 99 h 99"/>
              <a:gd name="T2" fmla="*/ 4 w 15"/>
              <a:gd name="T3" fmla="*/ 94 h 99"/>
              <a:gd name="T4" fmla="*/ 0 w 15"/>
              <a:gd name="T5" fmla="*/ 6 h 99"/>
              <a:gd name="T6" fmla="*/ 5 w 15"/>
              <a:gd name="T7" fmla="*/ 0 h 99"/>
              <a:gd name="T8" fmla="*/ 11 w 15"/>
              <a:gd name="T9" fmla="*/ 6 h 99"/>
              <a:gd name="T10" fmla="*/ 15 w 15"/>
              <a:gd name="T11" fmla="*/ 93 h 99"/>
              <a:gd name="T12" fmla="*/ 9 w 15"/>
              <a:gd name="T13" fmla="*/ 99 h 99"/>
              <a:gd name="T14" fmla="*/ 9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9" y="99"/>
                </a:moveTo>
                <a:cubicBezTo>
                  <a:pt x="6" y="99"/>
                  <a:pt x="4" y="97"/>
                  <a:pt x="4" y="9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1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5" y="93"/>
                  <a:pt x="15" y="93"/>
                  <a:pt x="15" y="93"/>
                </a:cubicBezTo>
                <a:cubicBezTo>
                  <a:pt x="15" y="96"/>
                  <a:pt x="12" y="99"/>
                  <a:pt x="9" y="99"/>
                </a:cubicBezTo>
                <a:cubicBezTo>
                  <a:pt x="9" y="99"/>
                  <a:pt x="9" y="99"/>
                  <a:pt x="9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0" name="Freeform 935">
            <a:extLst>
              <a:ext uri="{FF2B5EF4-FFF2-40B4-BE49-F238E27FC236}">
                <a16:creationId xmlns:a16="http://schemas.microsoft.com/office/drawing/2014/main" id="{3D198891-12CF-6BEC-0EC2-86C3674C1CB5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4116670"/>
            <a:ext cx="411438" cy="211277"/>
          </a:xfrm>
          <a:custGeom>
            <a:avLst/>
            <a:gdLst>
              <a:gd name="T0" fmla="*/ 307 w 340"/>
              <a:gd name="T1" fmla="*/ 174 h 174"/>
              <a:gd name="T2" fmla="*/ 33 w 340"/>
              <a:gd name="T3" fmla="*/ 174 h 174"/>
              <a:gd name="T4" fmla="*/ 9 w 340"/>
              <a:gd name="T5" fmla="*/ 163 h 174"/>
              <a:gd name="T6" fmla="*/ 1 w 340"/>
              <a:gd name="T7" fmla="*/ 138 h 174"/>
              <a:gd name="T8" fmla="*/ 11 w 340"/>
              <a:gd name="T9" fmla="*/ 43 h 174"/>
              <a:gd name="T10" fmla="*/ 62 w 340"/>
              <a:gd name="T11" fmla="*/ 0 h 174"/>
              <a:gd name="T12" fmla="*/ 143 w 340"/>
              <a:gd name="T13" fmla="*/ 0 h 174"/>
              <a:gd name="T14" fmla="*/ 147 w 340"/>
              <a:gd name="T15" fmla="*/ 1 h 174"/>
              <a:gd name="T16" fmla="*/ 149 w 340"/>
              <a:gd name="T17" fmla="*/ 6 h 174"/>
              <a:gd name="T18" fmla="*/ 148 w 340"/>
              <a:gd name="T19" fmla="*/ 12 h 174"/>
              <a:gd name="T20" fmla="*/ 153 w 340"/>
              <a:gd name="T21" fmla="*/ 30 h 174"/>
              <a:gd name="T22" fmla="*/ 170 w 340"/>
              <a:gd name="T23" fmla="*/ 38 h 174"/>
              <a:gd name="T24" fmla="*/ 187 w 340"/>
              <a:gd name="T25" fmla="*/ 30 h 174"/>
              <a:gd name="T26" fmla="*/ 192 w 340"/>
              <a:gd name="T27" fmla="*/ 12 h 174"/>
              <a:gd name="T28" fmla="*/ 191 w 340"/>
              <a:gd name="T29" fmla="*/ 6 h 174"/>
              <a:gd name="T30" fmla="*/ 192 w 340"/>
              <a:gd name="T31" fmla="*/ 1 h 174"/>
              <a:gd name="T32" fmla="*/ 197 w 340"/>
              <a:gd name="T33" fmla="*/ 0 h 174"/>
              <a:gd name="T34" fmla="*/ 278 w 340"/>
              <a:gd name="T35" fmla="*/ 0 h 174"/>
              <a:gd name="T36" fmla="*/ 328 w 340"/>
              <a:gd name="T37" fmla="*/ 43 h 174"/>
              <a:gd name="T38" fmla="*/ 339 w 340"/>
              <a:gd name="T39" fmla="*/ 138 h 174"/>
              <a:gd name="T40" fmla="*/ 331 w 340"/>
              <a:gd name="T41" fmla="*/ 163 h 174"/>
              <a:gd name="T42" fmla="*/ 307 w 340"/>
              <a:gd name="T43" fmla="*/ 174 h 174"/>
              <a:gd name="T44" fmla="*/ 62 w 340"/>
              <a:gd name="T45" fmla="*/ 11 h 174"/>
              <a:gd name="T46" fmla="*/ 22 w 340"/>
              <a:gd name="T47" fmla="*/ 45 h 174"/>
              <a:gd name="T48" fmla="*/ 12 w 340"/>
              <a:gd name="T49" fmla="*/ 140 h 174"/>
              <a:gd name="T50" fmla="*/ 17 w 340"/>
              <a:gd name="T51" fmla="*/ 156 h 174"/>
              <a:gd name="T52" fmla="*/ 33 w 340"/>
              <a:gd name="T53" fmla="*/ 163 h 174"/>
              <a:gd name="T54" fmla="*/ 307 w 340"/>
              <a:gd name="T55" fmla="*/ 163 h 174"/>
              <a:gd name="T56" fmla="*/ 323 w 340"/>
              <a:gd name="T57" fmla="*/ 156 h 174"/>
              <a:gd name="T58" fmla="*/ 328 w 340"/>
              <a:gd name="T59" fmla="*/ 140 h 174"/>
              <a:gd name="T60" fmla="*/ 318 w 340"/>
              <a:gd name="T61" fmla="*/ 44 h 174"/>
              <a:gd name="T62" fmla="*/ 278 w 340"/>
              <a:gd name="T63" fmla="*/ 11 h 174"/>
              <a:gd name="T64" fmla="*/ 203 w 340"/>
              <a:gd name="T65" fmla="*/ 11 h 174"/>
              <a:gd name="T66" fmla="*/ 203 w 340"/>
              <a:gd name="T67" fmla="*/ 11 h 174"/>
              <a:gd name="T68" fmla="*/ 195 w 340"/>
              <a:gd name="T69" fmla="*/ 37 h 174"/>
              <a:gd name="T70" fmla="*/ 170 w 340"/>
              <a:gd name="T71" fmla="*/ 49 h 174"/>
              <a:gd name="T72" fmla="*/ 170 w 340"/>
              <a:gd name="T73" fmla="*/ 49 h 174"/>
              <a:gd name="T74" fmla="*/ 144 w 340"/>
              <a:gd name="T75" fmla="*/ 37 h 174"/>
              <a:gd name="T76" fmla="*/ 137 w 340"/>
              <a:gd name="T77" fmla="*/ 11 h 174"/>
              <a:gd name="T78" fmla="*/ 137 w 340"/>
              <a:gd name="T79" fmla="*/ 11 h 174"/>
              <a:gd name="T80" fmla="*/ 62 w 340"/>
              <a:gd name="T81" fmla="*/ 11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0" h="174">
                <a:moveTo>
                  <a:pt x="307" y="174"/>
                </a:moveTo>
                <a:cubicBezTo>
                  <a:pt x="33" y="174"/>
                  <a:pt x="33" y="174"/>
                  <a:pt x="33" y="174"/>
                </a:cubicBezTo>
                <a:cubicBezTo>
                  <a:pt x="24" y="174"/>
                  <a:pt x="15" y="170"/>
                  <a:pt x="9" y="163"/>
                </a:cubicBezTo>
                <a:cubicBezTo>
                  <a:pt x="3" y="156"/>
                  <a:pt x="0" y="147"/>
                  <a:pt x="1" y="138"/>
                </a:cubicBezTo>
                <a:cubicBezTo>
                  <a:pt x="11" y="43"/>
                  <a:pt x="11" y="43"/>
                  <a:pt x="11" y="43"/>
                </a:cubicBezTo>
                <a:cubicBezTo>
                  <a:pt x="15" y="18"/>
                  <a:pt x="36" y="0"/>
                  <a:pt x="62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5" y="0"/>
                  <a:pt x="146" y="0"/>
                  <a:pt x="147" y="1"/>
                </a:cubicBezTo>
                <a:cubicBezTo>
                  <a:pt x="148" y="3"/>
                  <a:pt x="149" y="4"/>
                  <a:pt x="149" y="6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8"/>
                  <a:pt x="150" y="27"/>
                  <a:pt x="153" y="30"/>
                </a:cubicBezTo>
                <a:cubicBezTo>
                  <a:pt x="157" y="35"/>
                  <a:pt x="163" y="38"/>
                  <a:pt x="170" y="38"/>
                </a:cubicBezTo>
                <a:cubicBezTo>
                  <a:pt x="176" y="38"/>
                  <a:pt x="183" y="35"/>
                  <a:pt x="187" y="30"/>
                </a:cubicBezTo>
                <a:cubicBezTo>
                  <a:pt x="190" y="27"/>
                  <a:pt x="192" y="18"/>
                  <a:pt x="192" y="12"/>
                </a:cubicBezTo>
                <a:cubicBezTo>
                  <a:pt x="191" y="6"/>
                  <a:pt x="191" y="6"/>
                  <a:pt x="191" y="6"/>
                </a:cubicBezTo>
                <a:cubicBezTo>
                  <a:pt x="191" y="4"/>
                  <a:pt x="191" y="3"/>
                  <a:pt x="192" y="1"/>
                </a:cubicBezTo>
                <a:cubicBezTo>
                  <a:pt x="193" y="0"/>
                  <a:pt x="195" y="0"/>
                  <a:pt x="197" y="0"/>
                </a:cubicBezTo>
                <a:cubicBezTo>
                  <a:pt x="278" y="0"/>
                  <a:pt x="278" y="0"/>
                  <a:pt x="278" y="0"/>
                </a:cubicBezTo>
                <a:cubicBezTo>
                  <a:pt x="303" y="0"/>
                  <a:pt x="325" y="18"/>
                  <a:pt x="328" y="43"/>
                </a:cubicBezTo>
                <a:cubicBezTo>
                  <a:pt x="339" y="138"/>
                  <a:pt x="339" y="138"/>
                  <a:pt x="339" y="138"/>
                </a:cubicBezTo>
                <a:cubicBezTo>
                  <a:pt x="340" y="147"/>
                  <a:pt x="337" y="156"/>
                  <a:pt x="331" y="163"/>
                </a:cubicBezTo>
                <a:cubicBezTo>
                  <a:pt x="325" y="170"/>
                  <a:pt x="316" y="174"/>
                  <a:pt x="307" y="174"/>
                </a:cubicBezTo>
                <a:close/>
                <a:moveTo>
                  <a:pt x="62" y="11"/>
                </a:moveTo>
                <a:cubicBezTo>
                  <a:pt x="42" y="11"/>
                  <a:pt x="25" y="25"/>
                  <a:pt x="22" y="45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1" y="145"/>
                  <a:pt x="13" y="151"/>
                  <a:pt x="17" y="156"/>
                </a:cubicBezTo>
                <a:cubicBezTo>
                  <a:pt x="21" y="160"/>
                  <a:pt x="27" y="163"/>
                  <a:pt x="33" y="163"/>
                </a:cubicBezTo>
                <a:cubicBezTo>
                  <a:pt x="307" y="163"/>
                  <a:pt x="307" y="163"/>
                  <a:pt x="307" y="163"/>
                </a:cubicBezTo>
                <a:cubicBezTo>
                  <a:pt x="313" y="163"/>
                  <a:pt x="319" y="160"/>
                  <a:pt x="323" y="156"/>
                </a:cubicBezTo>
                <a:cubicBezTo>
                  <a:pt x="327" y="151"/>
                  <a:pt x="328" y="145"/>
                  <a:pt x="328" y="140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5" y="25"/>
                  <a:pt x="298" y="11"/>
                  <a:pt x="278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4" y="20"/>
                  <a:pt x="200" y="31"/>
                  <a:pt x="195" y="37"/>
                </a:cubicBezTo>
                <a:cubicBezTo>
                  <a:pt x="189" y="45"/>
                  <a:pt x="180" y="49"/>
                  <a:pt x="170" y="49"/>
                </a:cubicBezTo>
                <a:cubicBezTo>
                  <a:pt x="170" y="49"/>
                  <a:pt x="170" y="49"/>
                  <a:pt x="170" y="49"/>
                </a:cubicBezTo>
                <a:cubicBezTo>
                  <a:pt x="160" y="49"/>
                  <a:pt x="151" y="45"/>
                  <a:pt x="144" y="37"/>
                </a:cubicBezTo>
                <a:cubicBezTo>
                  <a:pt x="139" y="31"/>
                  <a:pt x="136" y="20"/>
                  <a:pt x="137" y="11"/>
                </a:cubicBezTo>
                <a:cubicBezTo>
                  <a:pt x="137" y="11"/>
                  <a:pt x="137" y="11"/>
                  <a:pt x="137" y="11"/>
                </a:cubicBezTo>
                <a:lnTo>
                  <a:pt x="62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1" name="Freeform 936">
            <a:extLst>
              <a:ext uri="{FF2B5EF4-FFF2-40B4-BE49-F238E27FC236}">
                <a16:creationId xmlns:a16="http://schemas.microsoft.com/office/drawing/2014/main" id="{6B2685C0-B2CE-33F6-47F6-9B46F8EF1408}"/>
              </a:ext>
            </a:extLst>
          </p:cNvPr>
          <p:cNvSpPr>
            <a:spLocks noEditPoints="1"/>
          </p:cNvSpPr>
          <p:nvPr/>
        </p:nvSpPr>
        <p:spPr bwMode="auto">
          <a:xfrm>
            <a:off x="11087045" y="4085164"/>
            <a:ext cx="81544" cy="90813"/>
          </a:xfrm>
          <a:custGeom>
            <a:avLst/>
            <a:gdLst>
              <a:gd name="T0" fmla="*/ 34 w 68"/>
              <a:gd name="T1" fmla="*/ 76 h 76"/>
              <a:gd name="T2" fmla="*/ 10 w 68"/>
              <a:gd name="T3" fmla="*/ 67 h 76"/>
              <a:gd name="T4" fmla="*/ 1 w 68"/>
              <a:gd name="T5" fmla="*/ 39 h 76"/>
              <a:gd name="T6" fmla="*/ 5 w 68"/>
              <a:gd name="T7" fmla="*/ 5 h 76"/>
              <a:gd name="T8" fmla="*/ 7 w 68"/>
              <a:gd name="T9" fmla="*/ 1 h 76"/>
              <a:gd name="T10" fmla="*/ 12 w 68"/>
              <a:gd name="T11" fmla="*/ 0 h 76"/>
              <a:gd name="T12" fmla="*/ 27 w 68"/>
              <a:gd name="T13" fmla="*/ 2 h 76"/>
              <a:gd name="T14" fmla="*/ 40 w 68"/>
              <a:gd name="T15" fmla="*/ 2 h 76"/>
              <a:gd name="T16" fmla="*/ 56 w 68"/>
              <a:gd name="T17" fmla="*/ 0 h 76"/>
              <a:gd name="T18" fmla="*/ 61 w 68"/>
              <a:gd name="T19" fmla="*/ 1 h 76"/>
              <a:gd name="T20" fmla="*/ 63 w 68"/>
              <a:gd name="T21" fmla="*/ 5 h 76"/>
              <a:gd name="T22" fmla="*/ 67 w 68"/>
              <a:gd name="T23" fmla="*/ 39 h 76"/>
              <a:gd name="T24" fmla="*/ 67 w 68"/>
              <a:gd name="T25" fmla="*/ 39 h 76"/>
              <a:gd name="T26" fmla="*/ 57 w 68"/>
              <a:gd name="T27" fmla="*/ 67 h 76"/>
              <a:gd name="T28" fmla="*/ 34 w 68"/>
              <a:gd name="T29" fmla="*/ 76 h 76"/>
              <a:gd name="T30" fmla="*/ 15 w 68"/>
              <a:gd name="T31" fmla="*/ 12 h 76"/>
              <a:gd name="T32" fmla="*/ 12 w 68"/>
              <a:gd name="T33" fmla="*/ 41 h 76"/>
              <a:gd name="T34" fmla="*/ 18 w 68"/>
              <a:gd name="T35" fmla="*/ 59 h 76"/>
              <a:gd name="T36" fmla="*/ 50 w 68"/>
              <a:gd name="T37" fmla="*/ 59 h 76"/>
              <a:gd name="T38" fmla="*/ 56 w 68"/>
              <a:gd name="T39" fmla="*/ 41 h 76"/>
              <a:gd name="T40" fmla="*/ 56 w 68"/>
              <a:gd name="T41" fmla="*/ 41 h 76"/>
              <a:gd name="T42" fmla="*/ 53 w 68"/>
              <a:gd name="T43" fmla="*/ 12 h 76"/>
              <a:gd name="T44" fmla="*/ 40 w 68"/>
              <a:gd name="T45" fmla="*/ 13 h 76"/>
              <a:gd name="T46" fmla="*/ 27 w 68"/>
              <a:gd name="T47" fmla="*/ 13 h 76"/>
              <a:gd name="T48" fmla="*/ 15 w 68"/>
              <a:gd name="T49" fmla="*/ 1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8" h="76">
                <a:moveTo>
                  <a:pt x="34" y="76"/>
                </a:moveTo>
                <a:cubicBezTo>
                  <a:pt x="25" y="76"/>
                  <a:pt x="17" y="73"/>
                  <a:pt x="10" y="67"/>
                </a:cubicBezTo>
                <a:cubicBezTo>
                  <a:pt x="3" y="59"/>
                  <a:pt x="0" y="49"/>
                  <a:pt x="1" y="39"/>
                </a:cubicBezTo>
                <a:cubicBezTo>
                  <a:pt x="5" y="5"/>
                  <a:pt x="5" y="5"/>
                  <a:pt x="5" y="5"/>
                </a:cubicBezTo>
                <a:cubicBezTo>
                  <a:pt x="5" y="3"/>
                  <a:pt x="6" y="2"/>
                  <a:pt x="7" y="1"/>
                </a:cubicBezTo>
                <a:cubicBezTo>
                  <a:pt x="8" y="0"/>
                  <a:pt x="10" y="0"/>
                  <a:pt x="12" y="0"/>
                </a:cubicBezTo>
                <a:cubicBezTo>
                  <a:pt x="17" y="2"/>
                  <a:pt x="22" y="2"/>
                  <a:pt x="27" y="2"/>
                </a:cubicBezTo>
                <a:cubicBezTo>
                  <a:pt x="40" y="2"/>
                  <a:pt x="40" y="2"/>
                  <a:pt x="40" y="2"/>
                </a:cubicBezTo>
                <a:cubicBezTo>
                  <a:pt x="46" y="2"/>
                  <a:pt x="51" y="2"/>
                  <a:pt x="56" y="0"/>
                </a:cubicBezTo>
                <a:cubicBezTo>
                  <a:pt x="58" y="0"/>
                  <a:pt x="59" y="0"/>
                  <a:pt x="61" y="1"/>
                </a:cubicBezTo>
                <a:cubicBezTo>
                  <a:pt x="62" y="2"/>
                  <a:pt x="63" y="3"/>
                  <a:pt x="63" y="5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8" y="49"/>
                  <a:pt x="65" y="59"/>
                  <a:pt x="57" y="67"/>
                </a:cubicBezTo>
                <a:cubicBezTo>
                  <a:pt x="51" y="73"/>
                  <a:pt x="42" y="76"/>
                  <a:pt x="34" y="76"/>
                </a:cubicBezTo>
                <a:close/>
                <a:moveTo>
                  <a:pt x="15" y="12"/>
                </a:moveTo>
                <a:cubicBezTo>
                  <a:pt x="12" y="41"/>
                  <a:pt x="12" y="41"/>
                  <a:pt x="12" y="41"/>
                </a:cubicBezTo>
                <a:cubicBezTo>
                  <a:pt x="11" y="47"/>
                  <a:pt x="13" y="54"/>
                  <a:pt x="18" y="59"/>
                </a:cubicBezTo>
                <a:cubicBezTo>
                  <a:pt x="27" y="67"/>
                  <a:pt x="41" y="67"/>
                  <a:pt x="50" y="59"/>
                </a:cubicBezTo>
                <a:cubicBezTo>
                  <a:pt x="54" y="54"/>
                  <a:pt x="57" y="47"/>
                  <a:pt x="56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3" y="12"/>
                  <a:pt x="53" y="12"/>
                  <a:pt x="53" y="12"/>
                </a:cubicBezTo>
                <a:cubicBezTo>
                  <a:pt x="49" y="13"/>
                  <a:pt x="44" y="13"/>
                  <a:pt x="40" y="13"/>
                </a:cubicBezTo>
                <a:cubicBezTo>
                  <a:pt x="27" y="13"/>
                  <a:pt x="27" y="13"/>
                  <a:pt x="27" y="13"/>
                </a:cubicBezTo>
                <a:cubicBezTo>
                  <a:pt x="23" y="13"/>
                  <a:pt x="19" y="13"/>
                  <a:pt x="15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2" name="Freeform 937">
            <a:extLst>
              <a:ext uri="{FF2B5EF4-FFF2-40B4-BE49-F238E27FC236}">
                <a16:creationId xmlns:a16="http://schemas.microsoft.com/office/drawing/2014/main" id="{F8A2619E-7590-B406-F5C8-4DE6B788E5A4}"/>
              </a:ext>
            </a:extLst>
          </p:cNvPr>
          <p:cNvSpPr>
            <a:spLocks noEditPoints="1"/>
          </p:cNvSpPr>
          <p:nvPr/>
        </p:nvSpPr>
        <p:spPr bwMode="auto">
          <a:xfrm>
            <a:off x="11037005" y="3920220"/>
            <a:ext cx="179772" cy="179772"/>
          </a:xfrm>
          <a:custGeom>
            <a:avLst/>
            <a:gdLst>
              <a:gd name="T0" fmla="*/ 81 w 149"/>
              <a:gd name="T1" fmla="*/ 149 h 149"/>
              <a:gd name="T2" fmla="*/ 68 w 149"/>
              <a:gd name="T3" fmla="*/ 149 h 149"/>
              <a:gd name="T4" fmla="*/ 50 w 149"/>
              <a:gd name="T5" fmla="*/ 147 h 149"/>
              <a:gd name="T6" fmla="*/ 0 w 149"/>
              <a:gd name="T7" fmla="*/ 81 h 149"/>
              <a:gd name="T8" fmla="*/ 0 w 149"/>
              <a:gd name="T9" fmla="*/ 58 h 149"/>
              <a:gd name="T10" fmla="*/ 58 w 149"/>
              <a:gd name="T11" fmla="*/ 0 h 149"/>
              <a:gd name="T12" fmla="*/ 92 w 149"/>
              <a:gd name="T13" fmla="*/ 0 h 149"/>
              <a:gd name="T14" fmla="*/ 149 w 149"/>
              <a:gd name="T15" fmla="*/ 58 h 149"/>
              <a:gd name="T16" fmla="*/ 149 w 149"/>
              <a:gd name="T17" fmla="*/ 81 h 149"/>
              <a:gd name="T18" fmla="*/ 100 w 149"/>
              <a:gd name="T19" fmla="*/ 147 h 149"/>
              <a:gd name="T20" fmla="*/ 81 w 149"/>
              <a:gd name="T21" fmla="*/ 149 h 149"/>
              <a:gd name="T22" fmla="*/ 58 w 149"/>
              <a:gd name="T23" fmla="*/ 11 h 149"/>
              <a:gd name="T24" fmla="*/ 11 w 149"/>
              <a:gd name="T25" fmla="*/ 58 h 149"/>
              <a:gd name="T26" fmla="*/ 11 w 149"/>
              <a:gd name="T27" fmla="*/ 81 h 149"/>
              <a:gd name="T28" fmla="*/ 53 w 149"/>
              <a:gd name="T29" fmla="*/ 136 h 149"/>
              <a:gd name="T30" fmla="*/ 68 w 149"/>
              <a:gd name="T31" fmla="*/ 138 h 149"/>
              <a:gd name="T32" fmla="*/ 81 w 149"/>
              <a:gd name="T33" fmla="*/ 138 h 149"/>
              <a:gd name="T34" fmla="*/ 97 w 149"/>
              <a:gd name="T35" fmla="*/ 136 h 149"/>
              <a:gd name="T36" fmla="*/ 138 w 149"/>
              <a:gd name="T37" fmla="*/ 81 h 149"/>
              <a:gd name="T38" fmla="*/ 138 w 149"/>
              <a:gd name="T39" fmla="*/ 58 h 149"/>
              <a:gd name="T40" fmla="*/ 92 w 149"/>
              <a:gd name="T41" fmla="*/ 11 h 149"/>
              <a:gd name="T42" fmla="*/ 58 w 149"/>
              <a:gd name="T43" fmla="*/ 1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149">
                <a:moveTo>
                  <a:pt x="81" y="149"/>
                </a:moveTo>
                <a:cubicBezTo>
                  <a:pt x="68" y="149"/>
                  <a:pt x="68" y="149"/>
                  <a:pt x="68" y="149"/>
                </a:cubicBezTo>
                <a:cubicBezTo>
                  <a:pt x="62" y="149"/>
                  <a:pt x="56" y="148"/>
                  <a:pt x="50" y="147"/>
                </a:cubicBezTo>
                <a:cubicBezTo>
                  <a:pt x="21" y="138"/>
                  <a:pt x="0" y="111"/>
                  <a:pt x="0" y="8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24" y="0"/>
                  <a:pt x="149" y="26"/>
                  <a:pt x="149" y="58"/>
                </a:cubicBezTo>
                <a:cubicBezTo>
                  <a:pt x="149" y="81"/>
                  <a:pt x="149" y="81"/>
                  <a:pt x="149" y="81"/>
                </a:cubicBezTo>
                <a:cubicBezTo>
                  <a:pt x="149" y="111"/>
                  <a:pt x="129" y="138"/>
                  <a:pt x="100" y="147"/>
                </a:cubicBezTo>
                <a:cubicBezTo>
                  <a:pt x="94" y="148"/>
                  <a:pt x="88" y="149"/>
                  <a:pt x="81" y="149"/>
                </a:cubicBezTo>
                <a:close/>
                <a:moveTo>
                  <a:pt x="58" y="11"/>
                </a:moveTo>
                <a:cubicBezTo>
                  <a:pt x="32" y="11"/>
                  <a:pt x="11" y="32"/>
                  <a:pt x="11" y="58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107"/>
                  <a:pt x="28" y="129"/>
                  <a:pt x="53" y="136"/>
                </a:cubicBezTo>
                <a:cubicBezTo>
                  <a:pt x="58" y="138"/>
                  <a:pt x="63" y="138"/>
                  <a:pt x="6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7" y="138"/>
                  <a:pt x="92" y="138"/>
                  <a:pt x="97" y="136"/>
                </a:cubicBezTo>
                <a:cubicBezTo>
                  <a:pt x="121" y="129"/>
                  <a:pt x="138" y="107"/>
                  <a:pt x="138" y="81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8" y="32"/>
                  <a:pt x="118" y="11"/>
                  <a:pt x="92" y="11"/>
                </a:cubicBezTo>
                <a:lnTo>
                  <a:pt x="58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3" name="Freeform 156">
            <a:extLst>
              <a:ext uri="{FF2B5EF4-FFF2-40B4-BE49-F238E27FC236}">
                <a16:creationId xmlns:a16="http://schemas.microsoft.com/office/drawing/2014/main" id="{FF925755-00B3-C27F-C56D-7903D230747E}"/>
              </a:ext>
            </a:extLst>
          </p:cNvPr>
          <p:cNvSpPr>
            <a:spLocks noEditPoints="1"/>
          </p:cNvSpPr>
          <p:nvPr/>
        </p:nvSpPr>
        <p:spPr bwMode="auto">
          <a:xfrm>
            <a:off x="6844828" y="1896023"/>
            <a:ext cx="220243" cy="163806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4" name="Freeform 157">
            <a:extLst>
              <a:ext uri="{FF2B5EF4-FFF2-40B4-BE49-F238E27FC236}">
                <a16:creationId xmlns:a16="http://schemas.microsoft.com/office/drawing/2014/main" id="{FBD82EE9-C8B4-7585-B69B-BAC9810EE5A4}"/>
              </a:ext>
            </a:extLst>
          </p:cNvPr>
          <p:cNvSpPr>
            <a:spLocks noEditPoints="1"/>
          </p:cNvSpPr>
          <p:nvPr/>
        </p:nvSpPr>
        <p:spPr bwMode="auto">
          <a:xfrm>
            <a:off x="6734708" y="1750418"/>
            <a:ext cx="440483" cy="436817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5" name="Freeform 1030">
            <a:extLst>
              <a:ext uri="{FF2B5EF4-FFF2-40B4-BE49-F238E27FC236}">
                <a16:creationId xmlns:a16="http://schemas.microsoft.com/office/drawing/2014/main" id="{703F990D-FBBA-DE33-C709-5B569E7B6E0A}"/>
              </a:ext>
            </a:extLst>
          </p:cNvPr>
          <p:cNvSpPr>
            <a:spLocks noEditPoints="1"/>
          </p:cNvSpPr>
          <p:nvPr/>
        </p:nvSpPr>
        <p:spPr bwMode="auto">
          <a:xfrm>
            <a:off x="10922098" y="1750417"/>
            <a:ext cx="411438" cy="411437"/>
          </a:xfrm>
          <a:custGeom>
            <a:avLst/>
            <a:gdLst>
              <a:gd name="T0" fmla="*/ 165 w 331"/>
              <a:gd name="T1" fmla="*/ 331 h 331"/>
              <a:gd name="T2" fmla="*/ 0 w 331"/>
              <a:gd name="T3" fmla="*/ 165 h 331"/>
              <a:gd name="T4" fmla="*/ 165 w 331"/>
              <a:gd name="T5" fmla="*/ 0 h 331"/>
              <a:gd name="T6" fmla="*/ 331 w 331"/>
              <a:gd name="T7" fmla="*/ 165 h 331"/>
              <a:gd name="T8" fmla="*/ 165 w 331"/>
              <a:gd name="T9" fmla="*/ 331 h 331"/>
              <a:gd name="T10" fmla="*/ 165 w 331"/>
              <a:gd name="T11" fmla="*/ 11 h 331"/>
              <a:gd name="T12" fmla="*/ 11 w 331"/>
              <a:gd name="T13" fmla="*/ 165 h 331"/>
              <a:gd name="T14" fmla="*/ 165 w 331"/>
              <a:gd name="T15" fmla="*/ 320 h 331"/>
              <a:gd name="T16" fmla="*/ 320 w 331"/>
              <a:gd name="T17" fmla="*/ 165 h 331"/>
              <a:gd name="T18" fmla="*/ 165 w 331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1" h="331">
                <a:moveTo>
                  <a:pt x="165" y="331"/>
                </a:moveTo>
                <a:cubicBezTo>
                  <a:pt x="74" y="331"/>
                  <a:pt x="0" y="257"/>
                  <a:pt x="0" y="165"/>
                </a:cubicBezTo>
                <a:cubicBezTo>
                  <a:pt x="0" y="74"/>
                  <a:pt x="74" y="0"/>
                  <a:pt x="165" y="0"/>
                </a:cubicBezTo>
                <a:cubicBezTo>
                  <a:pt x="257" y="0"/>
                  <a:pt x="331" y="74"/>
                  <a:pt x="331" y="165"/>
                </a:cubicBezTo>
                <a:cubicBezTo>
                  <a:pt x="331" y="257"/>
                  <a:pt x="257" y="331"/>
                  <a:pt x="165" y="331"/>
                </a:cubicBezTo>
                <a:close/>
                <a:moveTo>
                  <a:pt x="165" y="11"/>
                </a:moveTo>
                <a:cubicBezTo>
                  <a:pt x="80" y="11"/>
                  <a:pt x="11" y="80"/>
                  <a:pt x="11" y="165"/>
                </a:cubicBezTo>
                <a:cubicBezTo>
                  <a:pt x="11" y="250"/>
                  <a:pt x="80" y="320"/>
                  <a:pt x="165" y="320"/>
                </a:cubicBezTo>
                <a:cubicBezTo>
                  <a:pt x="251" y="320"/>
                  <a:pt x="320" y="250"/>
                  <a:pt x="320" y="165"/>
                </a:cubicBezTo>
                <a:cubicBezTo>
                  <a:pt x="320" y="80"/>
                  <a:pt x="251" y="11"/>
                  <a:pt x="16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6" name="Freeform 1031">
            <a:extLst>
              <a:ext uri="{FF2B5EF4-FFF2-40B4-BE49-F238E27FC236}">
                <a16:creationId xmlns:a16="http://schemas.microsoft.com/office/drawing/2014/main" id="{66E1603A-CA2B-E457-3507-2D842A7F6D8F}"/>
              </a:ext>
            </a:extLst>
          </p:cNvPr>
          <p:cNvSpPr>
            <a:spLocks/>
          </p:cNvSpPr>
          <p:nvPr/>
        </p:nvSpPr>
        <p:spPr bwMode="auto">
          <a:xfrm>
            <a:off x="10984667" y="1805403"/>
            <a:ext cx="288196" cy="68256"/>
          </a:xfrm>
          <a:custGeom>
            <a:avLst/>
            <a:gdLst>
              <a:gd name="T0" fmla="*/ 115 w 232"/>
              <a:gd name="T1" fmla="*/ 55 h 55"/>
              <a:gd name="T2" fmla="*/ 2 w 232"/>
              <a:gd name="T3" fmla="*/ 11 h 55"/>
              <a:gd name="T4" fmla="*/ 2 w 232"/>
              <a:gd name="T5" fmla="*/ 3 h 55"/>
              <a:gd name="T6" fmla="*/ 10 w 232"/>
              <a:gd name="T7" fmla="*/ 3 h 55"/>
              <a:gd name="T8" fmla="*/ 115 w 232"/>
              <a:gd name="T9" fmla="*/ 45 h 55"/>
              <a:gd name="T10" fmla="*/ 222 w 232"/>
              <a:gd name="T11" fmla="*/ 2 h 55"/>
              <a:gd name="T12" fmla="*/ 230 w 232"/>
              <a:gd name="T13" fmla="*/ 2 h 55"/>
              <a:gd name="T14" fmla="*/ 229 w 232"/>
              <a:gd name="T15" fmla="*/ 10 h 55"/>
              <a:gd name="T16" fmla="*/ 115 w 232"/>
              <a:gd name="T17" fmla="*/ 55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2" h="55">
                <a:moveTo>
                  <a:pt x="115" y="55"/>
                </a:moveTo>
                <a:cubicBezTo>
                  <a:pt x="73" y="55"/>
                  <a:pt x="33" y="40"/>
                  <a:pt x="2" y="11"/>
                </a:cubicBezTo>
                <a:cubicBezTo>
                  <a:pt x="0" y="9"/>
                  <a:pt x="0" y="5"/>
                  <a:pt x="2" y="3"/>
                </a:cubicBezTo>
                <a:cubicBezTo>
                  <a:pt x="4" y="1"/>
                  <a:pt x="8" y="1"/>
                  <a:pt x="10" y="3"/>
                </a:cubicBezTo>
                <a:cubicBezTo>
                  <a:pt x="39" y="30"/>
                  <a:pt x="76" y="45"/>
                  <a:pt x="115" y="45"/>
                </a:cubicBezTo>
                <a:cubicBezTo>
                  <a:pt x="155" y="45"/>
                  <a:pt x="193" y="29"/>
                  <a:pt x="222" y="2"/>
                </a:cubicBezTo>
                <a:cubicBezTo>
                  <a:pt x="224" y="0"/>
                  <a:pt x="228" y="0"/>
                  <a:pt x="230" y="2"/>
                </a:cubicBezTo>
                <a:cubicBezTo>
                  <a:pt x="232" y="4"/>
                  <a:pt x="232" y="8"/>
                  <a:pt x="229" y="10"/>
                </a:cubicBezTo>
                <a:cubicBezTo>
                  <a:pt x="199" y="39"/>
                  <a:pt x="158" y="55"/>
                  <a:pt x="115" y="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7" name="Freeform 1032">
            <a:extLst>
              <a:ext uri="{FF2B5EF4-FFF2-40B4-BE49-F238E27FC236}">
                <a16:creationId xmlns:a16="http://schemas.microsoft.com/office/drawing/2014/main" id="{6EE26EAC-FCFC-640C-F4FA-33927942E850}"/>
              </a:ext>
            </a:extLst>
          </p:cNvPr>
          <p:cNvSpPr>
            <a:spLocks/>
          </p:cNvSpPr>
          <p:nvPr/>
        </p:nvSpPr>
        <p:spPr bwMode="auto">
          <a:xfrm>
            <a:off x="10986565" y="2036720"/>
            <a:ext cx="284404" cy="66362"/>
          </a:xfrm>
          <a:custGeom>
            <a:avLst/>
            <a:gdLst>
              <a:gd name="T0" fmla="*/ 6 w 229"/>
              <a:gd name="T1" fmla="*/ 54 h 54"/>
              <a:gd name="T2" fmla="*/ 2 w 229"/>
              <a:gd name="T3" fmla="*/ 53 h 54"/>
              <a:gd name="T4" fmla="*/ 2 w 229"/>
              <a:gd name="T5" fmla="*/ 45 h 54"/>
              <a:gd name="T6" fmla="*/ 114 w 229"/>
              <a:gd name="T7" fmla="*/ 0 h 54"/>
              <a:gd name="T8" fmla="*/ 226 w 229"/>
              <a:gd name="T9" fmla="*/ 44 h 54"/>
              <a:gd name="T10" fmla="*/ 227 w 229"/>
              <a:gd name="T11" fmla="*/ 52 h 54"/>
              <a:gd name="T12" fmla="*/ 219 w 229"/>
              <a:gd name="T13" fmla="*/ 52 h 54"/>
              <a:gd name="T14" fmla="*/ 114 w 229"/>
              <a:gd name="T15" fmla="*/ 11 h 54"/>
              <a:gd name="T16" fmla="*/ 9 w 229"/>
              <a:gd name="T17" fmla="*/ 53 h 54"/>
              <a:gd name="T18" fmla="*/ 6 w 229"/>
              <a:gd name="T19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9" h="54">
                <a:moveTo>
                  <a:pt x="6" y="54"/>
                </a:moveTo>
                <a:cubicBezTo>
                  <a:pt x="4" y="54"/>
                  <a:pt x="3" y="54"/>
                  <a:pt x="2" y="53"/>
                </a:cubicBezTo>
                <a:cubicBezTo>
                  <a:pt x="0" y="50"/>
                  <a:pt x="0" y="47"/>
                  <a:pt x="2" y="45"/>
                </a:cubicBezTo>
                <a:cubicBezTo>
                  <a:pt x="33" y="16"/>
                  <a:pt x="73" y="0"/>
                  <a:pt x="114" y="0"/>
                </a:cubicBezTo>
                <a:cubicBezTo>
                  <a:pt x="156" y="0"/>
                  <a:pt x="196" y="16"/>
                  <a:pt x="226" y="44"/>
                </a:cubicBezTo>
                <a:cubicBezTo>
                  <a:pt x="228" y="46"/>
                  <a:pt x="229" y="49"/>
                  <a:pt x="227" y="52"/>
                </a:cubicBezTo>
                <a:cubicBezTo>
                  <a:pt x="224" y="54"/>
                  <a:pt x="221" y="54"/>
                  <a:pt x="219" y="52"/>
                </a:cubicBezTo>
                <a:cubicBezTo>
                  <a:pt x="190" y="26"/>
                  <a:pt x="153" y="11"/>
                  <a:pt x="114" y="11"/>
                </a:cubicBezTo>
                <a:cubicBezTo>
                  <a:pt x="75" y="11"/>
                  <a:pt x="38" y="26"/>
                  <a:pt x="9" y="53"/>
                </a:cubicBezTo>
                <a:cubicBezTo>
                  <a:pt x="8" y="54"/>
                  <a:pt x="7" y="54"/>
                  <a:pt x="6" y="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8" name="Freeform 1033">
            <a:extLst>
              <a:ext uri="{FF2B5EF4-FFF2-40B4-BE49-F238E27FC236}">
                <a16:creationId xmlns:a16="http://schemas.microsoft.com/office/drawing/2014/main" id="{A9D2B498-CC01-D51D-C78D-97433771B4DC}"/>
              </a:ext>
            </a:extLst>
          </p:cNvPr>
          <p:cNvSpPr>
            <a:spLocks noEditPoints="1"/>
          </p:cNvSpPr>
          <p:nvPr/>
        </p:nvSpPr>
        <p:spPr bwMode="auto">
          <a:xfrm>
            <a:off x="11016902" y="1750417"/>
            <a:ext cx="221835" cy="411437"/>
          </a:xfrm>
          <a:custGeom>
            <a:avLst/>
            <a:gdLst>
              <a:gd name="T0" fmla="*/ 89 w 179"/>
              <a:gd name="T1" fmla="*/ 331 h 331"/>
              <a:gd name="T2" fmla="*/ 0 w 179"/>
              <a:gd name="T3" fmla="*/ 165 h 331"/>
              <a:gd name="T4" fmla="*/ 89 w 179"/>
              <a:gd name="T5" fmla="*/ 0 h 331"/>
              <a:gd name="T6" fmla="*/ 179 w 179"/>
              <a:gd name="T7" fmla="*/ 165 h 331"/>
              <a:gd name="T8" fmla="*/ 89 w 179"/>
              <a:gd name="T9" fmla="*/ 331 h 331"/>
              <a:gd name="T10" fmla="*/ 89 w 179"/>
              <a:gd name="T11" fmla="*/ 11 h 331"/>
              <a:gd name="T12" fmla="*/ 11 w 179"/>
              <a:gd name="T13" fmla="*/ 165 h 331"/>
              <a:gd name="T14" fmla="*/ 89 w 179"/>
              <a:gd name="T15" fmla="*/ 320 h 331"/>
              <a:gd name="T16" fmla="*/ 168 w 179"/>
              <a:gd name="T17" fmla="*/ 165 h 331"/>
              <a:gd name="T18" fmla="*/ 89 w 179"/>
              <a:gd name="T1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9" h="331">
                <a:moveTo>
                  <a:pt x="89" y="331"/>
                </a:moveTo>
                <a:cubicBezTo>
                  <a:pt x="39" y="331"/>
                  <a:pt x="0" y="258"/>
                  <a:pt x="0" y="165"/>
                </a:cubicBezTo>
                <a:cubicBezTo>
                  <a:pt x="0" y="73"/>
                  <a:pt x="39" y="0"/>
                  <a:pt x="89" y="0"/>
                </a:cubicBezTo>
                <a:cubicBezTo>
                  <a:pt x="140" y="0"/>
                  <a:pt x="179" y="73"/>
                  <a:pt x="179" y="165"/>
                </a:cubicBezTo>
                <a:cubicBezTo>
                  <a:pt x="179" y="258"/>
                  <a:pt x="140" y="331"/>
                  <a:pt x="89" y="331"/>
                </a:cubicBezTo>
                <a:close/>
                <a:moveTo>
                  <a:pt x="89" y="11"/>
                </a:moveTo>
                <a:cubicBezTo>
                  <a:pt x="46" y="11"/>
                  <a:pt x="11" y="80"/>
                  <a:pt x="11" y="165"/>
                </a:cubicBezTo>
                <a:cubicBezTo>
                  <a:pt x="11" y="250"/>
                  <a:pt x="46" y="320"/>
                  <a:pt x="89" y="320"/>
                </a:cubicBezTo>
                <a:cubicBezTo>
                  <a:pt x="133" y="320"/>
                  <a:pt x="168" y="250"/>
                  <a:pt x="168" y="165"/>
                </a:cubicBezTo>
                <a:cubicBezTo>
                  <a:pt x="168" y="80"/>
                  <a:pt x="133" y="11"/>
                  <a:pt x="89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69" name="Freeform 1034">
            <a:extLst>
              <a:ext uri="{FF2B5EF4-FFF2-40B4-BE49-F238E27FC236}">
                <a16:creationId xmlns:a16="http://schemas.microsoft.com/office/drawing/2014/main" id="{FCDC5533-7B74-2EA4-F44E-5BA28F1FB540}"/>
              </a:ext>
            </a:extLst>
          </p:cNvPr>
          <p:cNvSpPr>
            <a:spLocks/>
          </p:cNvSpPr>
          <p:nvPr/>
        </p:nvSpPr>
        <p:spPr bwMode="auto">
          <a:xfrm>
            <a:off x="10922098" y="1949501"/>
            <a:ext cx="411438" cy="13274"/>
          </a:xfrm>
          <a:custGeom>
            <a:avLst/>
            <a:gdLst>
              <a:gd name="T0" fmla="*/ 325 w 331"/>
              <a:gd name="T1" fmla="*/ 11 h 11"/>
              <a:gd name="T2" fmla="*/ 6 w 331"/>
              <a:gd name="T3" fmla="*/ 11 h 11"/>
              <a:gd name="T4" fmla="*/ 0 w 331"/>
              <a:gd name="T5" fmla="*/ 5 h 11"/>
              <a:gd name="T6" fmla="*/ 6 w 331"/>
              <a:gd name="T7" fmla="*/ 0 h 11"/>
              <a:gd name="T8" fmla="*/ 325 w 331"/>
              <a:gd name="T9" fmla="*/ 0 h 11"/>
              <a:gd name="T10" fmla="*/ 331 w 331"/>
              <a:gd name="T11" fmla="*/ 5 h 11"/>
              <a:gd name="T12" fmla="*/ 325 w 331"/>
              <a:gd name="T13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1" h="11">
                <a:moveTo>
                  <a:pt x="325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325" y="0"/>
                  <a:pt x="325" y="0"/>
                  <a:pt x="325" y="0"/>
                </a:cubicBezTo>
                <a:cubicBezTo>
                  <a:pt x="328" y="0"/>
                  <a:pt x="331" y="2"/>
                  <a:pt x="331" y="5"/>
                </a:cubicBezTo>
                <a:cubicBezTo>
                  <a:pt x="331" y="9"/>
                  <a:pt x="328" y="11"/>
                  <a:pt x="32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  <p:sp>
        <p:nvSpPr>
          <p:cNvPr id="70" name="Freeform 1035">
            <a:extLst>
              <a:ext uri="{FF2B5EF4-FFF2-40B4-BE49-F238E27FC236}">
                <a16:creationId xmlns:a16="http://schemas.microsoft.com/office/drawing/2014/main" id="{A9328D6E-B70F-2915-645C-F512C08CF000}"/>
              </a:ext>
            </a:extLst>
          </p:cNvPr>
          <p:cNvSpPr>
            <a:spLocks/>
          </p:cNvSpPr>
          <p:nvPr/>
        </p:nvSpPr>
        <p:spPr bwMode="auto">
          <a:xfrm>
            <a:off x="11121182" y="1750417"/>
            <a:ext cx="13274" cy="411437"/>
          </a:xfrm>
          <a:custGeom>
            <a:avLst/>
            <a:gdLst>
              <a:gd name="T0" fmla="*/ 5 w 11"/>
              <a:gd name="T1" fmla="*/ 331 h 331"/>
              <a:gd name="T2" fmla="*/ 0 w 11"/>
              <a:gd name="T3" fmla="*/ 325 h 331"/>
              <a:gd name="T4" fmla="*/ 0 w 11"/>
              <a:gd name="T5" fmla="*/ 6 h 331"/>
              <a:gd name="T6" fmla="*/ 5 w 11"/>
              <a:gd name="T7" fmla="*/ 0 h 331"/>
              <a:gd name="T8" fmla="*/ 11 w 11"/>
              <a:gd name="T9" fmla="*/ 6 h 331"/>
              <a:gd name="T10" fmla="*/ 11 w 11"/>
              <a:gd name="T11" fmla="*/ 325 h 331"/>
              <a:gd name="T12" fmla="*/ 5 w 11"/>
              <a:gd name="T13" fmla="*/ 33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31">
                <a:moveTo>
                  <a:pt x="5" y="331"/>
                </a:moveTo>
                <a:cubicBezTo>
                  <a:pt x="2" y="331"/>
                  <a:pt x="0" y="328"/>
                  <a:pt x="0" y="3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9" y="0"/>
                  <a:pt x="11" y="3"/>
                  <a:pt x="11" y="6"/>
                </a:cubicBezTo>
                <a:cubicBezTo>
                  <a:pt x="11" y="325"/>
                  <a:pt x="11" y="325"/>
                  <a:pt x="11" y="325"/>
                </a:cubicBezTo>
                <a:cubicBezTo>
                  <a:pt x="11" y="328"/>
                  <a:pt x="9" y="331"/>
                  <a:pt x="5" y="3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270586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11</TotalTime>
  <Words>23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29</cp:revision>
  <dcterms:created xsi:type="dcterms:W3CDTF">2021-03-31T02:49:57Z</dcterms:created>
  <dcterms:modified xsi:type="dcterms:W3CDTF">2025-10-15T08:56:22Z</dcterms:modified>
  <cp:category/>
</cp:coreProperties>
</file>